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675" r:id="rId5"/>
  </p:sldMasterIdLst>
  <p:notesMasterIdLst>
    <p:notesMasterId r:id="rId12"/>
  </p:notesMasterIdLst>
  <p:handoutMasterIdLst>
    <p:handoutMasterId r:id="rId13"/>
  </p:handoutMasterIdLst>
  <p:sldIdLst>
    <p:sldId id="712" r:id="rId6"/>
    <p:sldId id="693" r:id="rId7"/>
    <p:sldId id="657" r:id="rId8"/>
    <p:sldId id="709" r:id="rId9"/>
    <p:sldId id="710" r:id="rId10"/>
    <p:sldId id="711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712"/>
            <p14:sldId id="693"/>
            <p14:sldId id="657"/>
            <p14:sldId id="709"/>
            <p14:sldId id="710"/>
            <p14:sldId id="71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9E2F"/>
    <a:srgbClr val="039CD1"/>
    <a:srgbClr val="FF9833"/>
    <a:srgbClr val="EB9E2F"/>
    <a:srgbClr val="001440"/>
    <a:srgbClr val="000C26"/>
    <a:srgbClr val="B7616B"/>
    <a:srgbClr val="309BFF"/>
    <a:srgbClr val="E86160"/>
    <a:srgbClr val="F362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5" autoAdjust="0"/>
    <p:restoredTop sz="94660"/>
  </p:normalViewPr>
  <p:slideViewPr>
    <p:cSldViewPr snapToGrid="0">
      <p:cViewPr varScale="1">
        <p:scale>
          <a:sx n="77" d="100"/>
          <a:sy n="77" d="100"/>
        </p:scale>
        <p:origin x="37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4711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525453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363649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39A684E-287C-44BA-BC2D-897908177E3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70002"/>
            <a:ext cx="5991225" cy="600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1459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 descr="A logo with text on it&#10;&#10;Description automatically generated">
            <a:extLst>
              <a:ext uri="{FF2B5EF4-FFF2-40B4-BE49-F238E27FC236}">
                <a16:creationId xmlns:a16="http://schemas.microsoft.com/office/drawing/2014/main" id="{01F601E5-7809-47A2-9AFC-3FCDE21F39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6747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4.bin"/><Relationship Id="rId5" Type="http://schemas.openxmlformats.org/officeDocument/2006/relationships/tags" Target="../tags/tag5.xml"/><Relationship Id="rId4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256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naconda.com/products/individua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0" y="2005781"/>
            <a:ext cx="5530645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Gotham Light" pitchFamily="50" charset="0"/>
              </a:rPr>
              <a:t>Introduction to Data Scienc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2542783"/>
            <a:ext cx="5521499" cy="1352127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Introduction to NumPy Package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840219"/>
            <a:ext cx="11593145" cy="26108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NumPy is a Python package/library that stands for ‘Numerical Python’. It is the core library for scientific computing, which contains a powerful n-dimensional array object. It is also a linear algebra for python and almost all of the libraries in the Python ecosystem rely on it as one of their main building blocks.</a:t>
            </a:r>
            <a:endParaRPr lang="en-US" sz="3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What is NumPy?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840219"/>
            <a:ext cx="11593145" cy="4432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2800" dirty="0"/>
              <a:t>If you installed the </a:t>
            </a:r>
            <a:r>
              <a:rPr lang="en-US" sz="2800" dirty="0">
                <a:hlinkClick r:id="rId3"/>
              </a:rPr>
              <a:t>Anaconda distribution</a:t>
            </a:r>
            <a:r>
              <a:rPr lang="en-US" sz="2800" dirty="0"/>
              <a:t> of Python - it includes Python, NumPy, and other commonly used packages for scientific computing and data science. Therefore, no further installation steps are necessary. We recommend you use the </a:t>
            </a:r>
            <a:r>
              <a:rPr lang="en-US" sz="2800" dirty="0">
                <a:hlinkClick r:id="rId3"/>
              </a:rPr>
              <a:t>Anaconda distribution</a:t>
            </a:r>
            <a:r>
              <a:rPr lang="en-US" sz="2800" dirty="0"/>
              <a:t> of Python as you begin your data science journey.</a:t>
            </a:r>
          </a:p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endParaRPr lang="en-US" sz="4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How to install NumPy?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08225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840219"/>
            <a:ext cx="11593145" cy="13181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2800" dirty="0"/>
              <a:t>There are several ways to import NumPy. The standard approach is to use a simple import statement:</a:t>
            </a:r>
            <a:endParaRPr lang="en-US" sz="4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Importing the NumPy module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243CD0-B9AC-4043-BAD2-BA31D95AE0B1}"/>
              </a:ext>
            </a:extLst>
          </p:cNvPr>
          <p:cNvSpPr txBox="1"/>
          <p:nvPr/>
        </p:nvSpPr>
        <p:spPr>
          <a:xfrm>
            <a:off x="299427" y="3870354"/>
            <a:ext cx="6098458" cy="5890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 latinLnBrk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 dirty="0">
                <a:solidFill>
                  <a:srgbClr val="EA9E2F"/>
                </a:solidFill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import </a:t>
            </a:r>
            <a:r>
              <a:rPr lang="en-US" sz="2400" dirty="0" err="1">
                <a:solidFill>
                  <a:srgbClr val="EA9E2F"/>
                </a:solidFill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numpy</a:t>
            </a:r>
            <a:r>
              <a:rPr lang="en-US" sz="2400" dirty="0">
                <a:solidFill>
                  <a:srgbClr val="EA9E2F"/>
                </a:solidFill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 as np</a:t>
            </a:r>
            <a:endParaRPr lang="en-US" sz="1600" dirty="0">
              <a:solidFill>
                <a:srgbClr val="EA9E2F"/>
              </a:solidFill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6024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900" y="1096795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292695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37</TotalTime>
  <Words>159</Words>
  <Application>Microsoft Office PowerPoint</Application>
  <PresentationFormat>Widescreen</PresentationFormat>
  <Paragraphs>10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Calibri Light</vt:lpstr>
      <vt:lpstr>Gotham Light</vt:lpstr>
      <vt:lpstr>2_Office Theme</vt:lpstr>
      <vt:lpstr>3_Office Theme</vt:lpstr>
      <vt:lpstr>think-cell Slide</vt:lpstr>
      <vt:lpstr>Introduction to Data Science</vt:lpstr>
      <vt:lpstr>Introduction to NumPy Packag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40</cp:revision>
  <dcterms:created xsi:type="dcterms:W3CDTF">2020-03-16T19:15:12Z</dcterms:created>
  <dcterms:modified xsi:type="dcterms:W3CDTF">2024-05-03T15:2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